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721" r:id="rId4"/>
  </p:sldMasterIdLst>
  <p:notesMasterIdLst>
    <p:notesMasterId r:id="rId9"/>
  </p:notesMasterIdLst>
  <p:handoutMasterIdLst>
    <p:handoutMasterId r:id="rId10"/>
  </p:handoutMasterIdLst>
  <p:sldIdLst>
    <p:sldId id="256" r:id="rId5"/>
    <p:sldId id="2142532146" r:id="rId6"/>
    <p:sldId id="2142532148" r:id="rId7"/>
    <p:sldId id="2142532147" r:id="rId8"/>
  </p:sldIdLst>
  <p:sldSz cx="9144000" cy="6858000" type="screen4x3"/>
  <p:notesSz cx="7023100" cy="9309100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emplate" id="{519BD601-0FE2-4021-B81F-89A4785CB19A}">
          <p14:sldIdLst>
            <p14:sldId id="256"/>
            <p14:sldId id="2142532146"/>
          </p14:sldIdLst>
        </p14:section>
        <p14:section name="Instructions" id="{9831F4EA-C4FC-4F7C-8930-F3A67D38DE0C}">
          <p14:sldIdLst>
            <p14:sldId id="2142532148"/>
          </p14:sldIdLst>
        </p14:section>
        <p14:section name="Example" id="{848F4BD9-1C8C-4C5B-9E09-8403E7996356}">
          <p14:sldIdLst>
            <p14:sldId id="2142532147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Shawna F Li" initials="SFL" lastIdx="19" clrIdx="6">
    <p:extLst>
      <p:ext uri="{19B8F6BF-5375-455C-9EA6-DF929625EA0E}">
        <p15:presenceInfo xmlns:p15="http://schemas.microsoft.com/office/powerpoint/2012/main" userId="S::Shawna.Li@ey.com::7b45b290-af15-408e-b131-adc72ead6f01" providerId="AD"/>
      </p:ext>
    </p:extLst>
  </p:cmAuthor>
  <p:cmAuthor id="1" name="Morgan Rising" initials="MR" lastIdx="84" clrIdx="0">
    <p:extLst>
      <p:ext uri="{19B8F6BF-5375-455C-9EA6-DF929625EA0E}">
        <p15:presenceInfo xmlns:p15="http://schemas.microsoft.com/office/powerpoint/2012/main" userId="S::Morgan.Rising@ey.com::55178184-129f-4d4c-94fb-37d7d6c8af4c" providerId="AD"/>
      </p:ext>
    </p:extLst>
  </p:cmAuthor>
  <p:cmAuthor id="2" name="Capri Backus" initials="CB" lastIdx="1" clrIdx="1">
    <p:extLst>
      <p:ext uri="{19B8F6BF-5375-455C-9EA6-DF929625EA0E}">
        <p15:presenceInfo xmlns:p15="http://schemas.microsoft.com/office/powerpoint/2012/main" userId="S::Capri.Backus@ey.com::8d3841a7-ce9c-4315-aa35-6c833f87f4dd" providerId="AD"/>
      </p:ext>
    </p:extLst>
  </p:cmAuthor>
  <p:cmAuthor id="3" name="Melanie Sheppard" initials="MS" lastIdx="65" clrIdx="2">
    <p:extLst>
      <p:ext uri="{19B8F6BF-5375-455C-9EA6-DF929625EA0E}">
        <p15:presenceInfo xmlns:p15="http://schemas.microsoft.com/office/powerpoint/2012/main" userId="S::Melanie.Sheppard@ey.com::ed6d414b-5020-413f-a81d-b0b388d21b84" providerId="AD"/>
      </p:ext>
    </p:extLst>
  </p:cmAuthor>
  <p:cmAuthor id="4" name="Samuel Hughes" initials="SH" lastIdx="1" clrIdx="3">
    <p:extLst>
      <p:ext uri="{19B8F6BF-5375-455C-9EA6-DF929625EA0E}">
        <p15:presenceInfo xmlns:p15="http://schemas.microsoft.com/office/powerpoint/2012/main" userId="S::Samuel.Hughes@ey.com::a5f58f22-61d0-4a80-8a19-aac404940f66" providerId="AD"/>
      </p:ext>
    </p:extLst>
  </p:cmAuthor>
  <p:cmAuthor id="5" name="Elise Sidamon-Eristoff" initials="ESE" lastIdx="23" clrIdx="4">
    <p:extLst>
      <p:ext uri="{19B8F6BF-5375-455C-9EA6-DF929625EA0E}">
        <p15:presenceInfo xmlns:p15="http://schemas.microsoft.com/office/powerpoint/2012/main" userId="S::elise.sidamon-eristoff@ey.com::d47331ba-35c4-4e3b-9020-525a7d42c201" providerId="AD"/>
      </p:ext>
    </p:extLst>
  </p:cmAuthor>
  <p:cmAuthor id="6" name="Matt Campbell" initials="MC" lastIdx="4" clrIdx="5">
    <p:extLst>
      <p:ext uri="{19B8F6BF-5375-455C-9EA6-DF929625EA0E}">
        <p15:presenceInfo xmlns:p15="http://schemas.microsoft.com/office/powerpoint/2012/main" userId="S::Matt.Campbell@ey.com::711e8647-2ab5-4a6c-809d-5cd96d31c2b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56A85"/>
    <a:srgbClr val="ADB9CA"/>
    <a:srgbClr val="0D0D0D"/>
    <a:srgbClr val="8497B0"/>
    <a:srgbClr val="A6A6A6"/>
    <a:srgbClr val="F2F2F2"/>
    <a:srgbClr val="909090"/>
    <a:srgbClr val="AFABAB"/>
    <a:srgbClr val="FFFFCC"/>
    <a:srgbClr val="0070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B0EDA8D-AF1D-4476-9472-FEED2257932B}" v="2" dt="2026-02-24T16:13:34.17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941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1296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commentAuthors" Target="commentAuthors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leriotis, Christopher D CIV USN CNO (USA)" userId="b67f115e-3e91-4262-85a5-180accc0e2e2" providerId="ADAL" clId="{82D59B06-46EA-4E85-98C5-3337794A410A}"/>
    <pc:docChg chg="modMainMaster">
      <pc:chgData name="Kleriotis, Christopher D CIV USN CNO (USA)" userId="b67f115e-3e91-4262-85a5-180accc0e2e2" providerId="ADAL" clId="{82D59B06-46EA-4E85-98C5-3337794A410A}" dt="2026-02-24T16:13:34.186" v="15"/>
      <pc:docMkLst>
        <pc:docMk/>
      </pc:docMkLst>
      <pc:sldMasterChg chg="modSldLayout">
        <pc:chgData name="Kleriotis, Christopher D CIV USN CNO (USA)" userId="b67f115e-3e91-4262-85a5-180accc0e2e2" providerId="ADAL" clId="{82D59B06-46EA-4E85-98C5-3337794A410A}" dt="2026-02-24T16:13:34.186" v="15"/>
        <pc:sldMasterMkLst>
          <pc:docMk/>
          <pc:sldMasterMk cId="2514310749" sldId="2147483721"/>
        </pc:sldMasterMkLst>
        <pc:sldLayoutChg chg="delSp modSp mod">
          <pc:chgData name="Kleriotis, Christopher D CIV USN CNO (USA)" userId="b67f115e-3e91-4262-85a5-180accc0e2e2" providerId="ADAL" clId="{82D59B06-46EA-4E85-98C5-3337794A410A}" dt="2026-02-24T16:13:34.184" v="3"/>
          <pc:sldLayoutMkLst>
            <pc:docMk/>
            <pc:sldMasterMk cId="2514310749" sldId="2147483721"/>
            <pc:sldLayoutMk cId="737904441" sldId="2147483723"/>
          </pc:sldLayoutMkLst>
          <pc:spChg chg="del mod">
            <ac:chgData name="Kleriotis, Christopher D CIV USN CNO (USA)" userId="b67f115e-3e91-4262-85a5-180accc0e2e2" providerId="ADAL" clId="{82D59B06-46EA-4E85-98C5-3337794A410A}" dt="2026-02-24T16:13:34.184" v="3"/>
            <ac:spMkLst>
              <pc:docMk/>
              <pc:sldMasterMk cId="2514310749" sldId="2147483721"/>
              <pc:sldLayoutMk cId="737904441" sldId="2147483723"/>
              <ac:spMk id="10" creationId="{00000000-0000-0000-0000-000000000000}"/>
            </ac:spMkLst>
          </pc:spChg>
        </pc:sldLayoutChg>
        <pc:sldLayoutChg chg="delSp modSp mod">
          <pc:chgData name="Kleriotis, Christopher D CIV USN CNO (USA)" userId="b67f115e-3e91-4262-85a5-180accc0e2e2" providerId="ADAL" clId="{82D59B06-46EA-4E85-98C5-3337794A410A}" dt="2026-02-24T16:13:34.184" v="5"/>
          <pc:sldLayoutMkLst>
            <pc:docMk/>
            <pc:sldMasterMk cId="2514310749" sldId="2147483721"/>
            <pc:sldLayoutMk cId="2605748105" sldId="2147483724"/>
          </pc:sldLayoutMkLst>
          <pc:spChg chg="del mod">
            <ac:chgData name="Kleriotis, Christopher D CIV USN CNO (USA)" userId="b67f115e-3e91-4262-85a5-180accc0e2e2" providerId="ADAL" clId="{82D59B06-46EA-4E85-98C5-3337794A410A}" dt="2026-02-24T16:13:34.184" v="5"/>
            <ac:spMkLst>
              <pc:docMk/>
              <pc:sldMasterMk cId="2514310749" sldId="2147483721"/>
              <pc:sldLayoutMk cId="2605748105" sldId="2147483724"/>
              <ac:spMk id="10" creationId="{00000000-0000-0000-0000-000000000000}"/>
            </ac:spMkLst>
          </pc:spChg>
        </pc:sldLayoutChg>
        <pc:sldLayoutChg chg="delSp modSp mod">
          <pc:chgData name="Kleriotis, Christopher D CIV USN CNO (USA)" userId="b67f115e-3e91-4262-85a5-180accc0e2e2" providerId="ADAL" clId="{82D59B06-46EA-4E85-98C5-3337794A410A}" dt="2026-02-24T16:13:34.184" v="7"/>
          <pc:sldLayoutMkLst>
            <pc:docMk/>
            <pc:sldMasterMk cId="2514310749" sldId="2147483721"/>
            <pc:sldLayoutMk cId="2995495754" sldId="2147483725"/>
          </pc:sldLayoutMkLst>
          <pc:spChg chg="del mod">
            <ac:chgData name="Kleriotis, Christopher D CIV USN CNO (USA)" userId="b67f115e-3e91-4262-85a5-180accc0e2e2" providerId="ADAL" clId="{82D59B06-46EA-4E85-98C5-3337794A410A}" dt="2026-02-24T16:13:34.184" v="7"/>
            <ac:spMkLst>
              <pc:docMk/>
              <pc:sldMasterMk cId="2514310749" sldId="2147483721"/>
              <pc:sldLayoutMk cId="2995495754" sldId="2147483725"/>
              <ac:spMk id="10" creationId="{00000000-0000-0000-0000-000000000000}"/>
            </ac:spMkLst>
          </pc:spChg>
        </pc:sldLayoutChg>
        <pc:sldLayoutChg chg="delSp modSp mod">
          <pc:chgData name="Kleriotis, Christopher D CIV USN CNO (USA)" userId="b67f115e-3e91-4262-85a5-180accc0e2e2" providerId="ADAL" clId="{82D59B06-46EA-4E85-98C5-3337794A410A}" dt="2026-02-24T16:13:34.184" v="9"/>
          <pc:sldLayoutMkLst>
            <pc:docMk/>
            <pc:sldMasterMk cId="2514310749" sldId="2147483721"/>
            <pc:sldLayoutMk cId="2564246925" sldId="2147483726"/>
          </pc:sldLayoutMkLst>
          <pc:spChg chg="del mod">
            <ac:chgData name="Kleriotis, Christopher D CIV USN CNO (USA)" userId="b67f115e-3e91-4262-85a5-180accc0e2e2" providerId="ADAL" clId="{82D59B06-46EA-4E85-98C5-3337794A410A}" dt="2026-02-24T16:13:34.184" v="9"/>
            <ac:spMkLst>
              <pc:docMk/>
              <pc:sldMasterMk cId="2514310749" sldId="2147483721"/>
              <pc:sldLayoutMk cId="2564246925" sldId="2147483726"/>
              <ac:spMk id="10" creationId="{00000000-0000-0000-0000-000000000000}"/>
            </ac:spMkLst>
          </pc:spChg>
        </pc:sldLayoutChg>
        <pc:sldLayoutChg chg="delSp modSp mod">
          <pc:chgData name="Kleriotis, Christopher D CIV USN CNO (USA)" userId="b67f115e-3e91-4262-85a5-180accc0e2e2" providerId="ADAL" clId="{82D59B06-46EA-4E85-98C5-3337794A410A}" dt="2026-02-24T16:13:34.184" v="11"/>
          <pc:sldLayoutMkLst>
            <pc:docMk/>
            <pc:sldMasterMk cId="2514310749" sldId="2147483721"/>
            <pc:sldLayoutMk cId="596368634" sldId="2147483728"/>
          </pc:sldLayoutMkLst>
          <pc:spChg chg="del mod">
            <ac:chgData name="Kleriotis, Christopher D CIV USN CNO (USA)" userId="b67f115e-3e91-4262-85a5-180accc0e2e2" providerId="ADAL" clId="{82D59B06-46EA-4E85-98C5-3337794A410A}" dt="2026-02-24T16:13:34.184" v="11"/>
            <ac:spMkLst>
              <pc:docMk/>
              <pc:sldMasterMk cId="2514310749" sldId="2147483721"/>
              <pc:sldLayoutMk cId="596368634" sldId="2147483728"/>
              <ac:spMk id="10" creationId="{00000000-0000-0000-0000-000000000000}"/>
            </ac:spMkLst>
          </pc:spChg>
        </pc:sldLayoutChg>
        <pc:sldLayoutChg chg="delSp modSp mod">
          <pc:chgData name="Kleriotis, Christopher D CIV USN CNO (USA)" userId="b67f115e-3e91-4262-85a5-180accc0e2e2" providerId="ADAL" clId="{82D59B06-46EA-4E85-98C5-3337794A410A}" dt="2026-02-24T16:13:34.186" v="13"/>
          <pc:sldLayoutMkLst>
            <pc:docMk/>
            <pc:sldMasterMk cId="2514310749" sldId="2147483721"/>
            <pc:sldLayoutMk cId="1881805448" sldId="2147483729"/>
          </pc:sldLayoutMkLst>
          <pc:spChg chg="del mod">
            <ac:chgData name="Kleriotis, Christopher D CIV USN CNO (USA)" userId="b67f115e-3e91-4262-85a5-180accc0e2e2" providerId="ADAL" clId="{82D59B06-46EA-4E85-98C5-3337794A410A}" dt="2026-02-24T16:13:34.186" v="13"/>
            <ac:spMkLst>
              <pc:docMk/>
              <pc:sldMasterMk cId="2514310749" sldId="2147483721"/>
              <pc:sldLayoutMk cId="1881805448" sldId="2147483729"/>
              <ac:spMk id="10" creationId="{00000000-0000-0000-0000-000000000000}"/>
            </ac:spMkLst>
          </pc:spChg>
        </pc:sldLayoutChg>
        <pc:sldLayoutChg chg="delSp modSp mod">
          <pc:chgData name="Kleriotis, Christopher D CIV USN CNO (USA)" userId="b67f115e-3e91-4262-85a5-180accc0e2e2" providerId="ADAL" clId="{82D59B06-46EA-4E85-98C5-3337794A410A}" dt="2026-02-24T16:13:34.186" v="15"/>
          <pc:sldLayoutMkLst>
            <pc:docMk/>
            <pc:sldMasterMk cId="2514310749" sldId="2147483721"/>
            <pc:sldLayoutMk cId="1911562611" sldId="2147483731"/>
          </pc:sldLayoutMkLst>
          <pc:spChg chg="del mod">
            <ac:chgData name="Kleriotis, Christopher D CIV USN CNO (USA)" userId="b67f115e-3e91-4262-85a5-180accc0e2e2" providerId="ADAL" clId="{82D59B06-46EA-4E85-98C5-3337794A410A}" dt="2026-02-24T16:13:34.186" v="15"/>
            <ac:spMkLst>
              <pc:docMk/>
              <pc:sldMasterMk cId="2514310749" sldId="2147483721"/>
              <pc:sldLayoutMk cId="1911562611" sldId="2147483731"/>
              <ac:spMk id="10" creationId="{00000000-0000-0000-0000-000000000000}"/>
            </ac:spMkLst>
          </pc:sp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6F70FC5-A478-4D03-9178-27C80E6CA1B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2290862-AA5D-47BE-AF9E-9976BD17DAA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86E39D2B-1BDD-4F61-8144-1A803E26E4E0}" type="datetimeFigureOut">
              <a:rPr lang="en-US" smtClean="0"/>
              <a:t>2/24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C7D0C3-B33A-4263-91B8-51FC21C71A5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4B9ED6-D2EB-441F-8D2D-D527BFCEEF7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15EA3F7F-48C6-4B7B-BBD6-8A71D883319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068961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1B49869D-D116-4DDF-BAC8-99013766C1E6}" type="datetimeFigureOut">
              <a:rPr lang="en-US" smtClean="0"/>
              <a:t>2/24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7638" y="1163638"/>
            <a:ext cx="4187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8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949EBE9C-E325-4624-AA9B-E6586A8181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8460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9597">
              <a:defRPr/>
            </a:pPr>
            <a:fld id="{B4A55CF2-256D-44FD-9430-5B63A079CF51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29597">
                <a:defRPr/>
              </a:pPr>
              <a:t>0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880954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97318"/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Option 1 – Not in FELI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8413">
              <a:defRPr/>
            </a:pPr>
            <a:fld id="{949EBE9C-E325-4624-AA9B-E6586A8181E9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48413">
                <a:defRPr/>
              </a:pPr>
              <a:t>3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0485401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A5D79A-DEBC-06BF-E699-83E4D3DE23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9E71F3-CD2D-0E58-2018-D859C433604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81A44C-9A93-6FE5-0C63-DEC1FF02CE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D5B0D9-C24C-A187-F8E8-0BE41BF90A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BEC154-BDB2-14C0-A8F0-A095C541DB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7757FFB-0004-4E4F-A928-1A44C9AC2B7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72038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only (NPI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ED7FBBE-CF1B-BFFC-AAE3-14335002A829}"/>
              </a:ext>
            </a:extLst>
          </p:cNvPr>
          <p:cNvSpPr/>
          <p:nvPr userDrawn="1"/>
        </p:nvSpPr>
        <p:spPr>
          <a:xfrm>
            <a:off x="0" y="0"/>
            <a:ext cx="9152566" cy="822640"/>
          </a:xfrm>
          <a:prstGeom prst="rect">
            <a:avLst/>
          </a:prstGeom>
          <a:solidFill>
            <a:srgbClr val="173156"/>
          </a:solidFill>
          <a:ln>
            <a:solidFill>
              <a:srgbClr val="17315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60408" y="6394106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>
              <a:defRPr/>
            </a:pPr>
            <a:fld id="{E35FA051-85A1-48C3-861B-F3C98AFB19CF}" type="slidenum">
              <a:rPr lang="en-US" smtClean="0">
                <a:solidFill>
                  <a:prstClr val="black">
                    <a:tint val="75000"/>
                  </a:prstClr>
                </a:solidFill>
                <a:latin typeface="Aptos" panose="02110004020202020204"/>
              </a:rPr>
              <a:pPr defTabSz="685800"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Aptos" panose="02110004020202020204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0022131-E818-D349-EDE8-FAA99D3478D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37150" y="171608"/>
            <a:ext cx="4006850" cy="479424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2D79C33-D20E-17CA-079C-A51BFDD871D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1972" y="180934"/>
            <a:ext cx="5137150" cy="470098"/>
          </a:xfrm>
        </p:spPr>
        <p:txBody>
          <a:bodyPr>
            <a:noAutofit/>
          </a:bodyPr>
          <a:lstStyle>
            <a:lvl1pPr marL="0" indent="0">
              <a:buNone/>
              <a:defRPr sz="2100" b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115626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 (NPI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AA9809A-C269-8C9E-E22D-5A37462D12D1}"/>
              </a:ext>
            </a:extLst>
          </p:cNvPr>
          <p:cNvSpPr/>
          <p:nvPr userDrawn="1"/>
        </p:nvSpPr>
        <p:spPr>
          <a:xfrm>
            <a:off x="0" y="0"/>
            <a:ext cx="9144000" cy="672662"/>
          </a:xfrm>
          <a:prstGeom prst="rect">
            <a:avLst/>
          </a:prstGeom>
          <a:gradFill>
            <a:gsLst>
              <a:gs pos="16000">
                <a:sysClr val="window" lastClr="FFFFFF"/>
              </a:gs>
              <a:gs pos="52000">
                <a:srgbClr val="156082">
                  <a:lumMod val="45000"/>
                  <a:lumOff val="55000"/>
                </a:srgbClr>
              </a:gs>
              <a:gs pos="100000">
                <a:srgbClr val="004A80"/>
              </a:gs>
            </a:gsLst>
            <a:lin ang="0" scaled="0"/>
          </a:gra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2698" y="1284"/>
            <a:ext cx="8341302" cy="672662"/>
          </a:xfrm>
        </p:spPr>
        <p:txBody>
          <a:bodyPr>
            <a:normAutofit/>
          </a:bodyPr>
          <a:lstStyle>
            <a:lvl1pPr>
              <a:defRPr sz="2100" b="1">
                <a:latin typeface="Cambria" panose="02040503050406030204" pitchFamily="18" charset="0"/>
                <a:ea typeface="Cambria" panose="02040503050406030204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648646" y="6406130"/>
            <a:ext cx="8503920" cy="26988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50000">
                <a:srgbClr val="004D86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spcBef>
                <a:spcPct val="0"/>
              </a:spcBef>
              <a:defRPr/>
            </a:pPr>
            <a:endParaRPr lang="en-US" sz="1350" u="sng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328122C-ED52-F02C-7D51-4492AFC971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3602" y="55259"/>
            <a:ext cx="535494" cy="618686"/>
          </a:xfrm>
          <a:prstGeom prst="rect">
            <a:avLst/>
          </a:prstGeom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8C3F602F-75E7-98EE-4794-7AFB7847E8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60408" y="6394106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E35FA051-85A1-48C3-861B-F3C98AFB19C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79044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 (NPI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4299857" y="0"/>
            <a:ext cx="4844142" cy="6406130"/>
          </a:xfrm>
          <a:prstGeom prst="rect">
            <a:avLst/>
          </a:prstGeom>
          <a:gradFill>
            <a:gsLst>
              <a:gs pos="16000">
                <a:schemeClr val="bg1"/>
              </a:gs>
              <a:gs pos="52000">
                <a:schemeClr val="accent1">
                  <a:lumMod val="45000"/>
                  <a:lumOff val="55000"/>
                </a:schemeClr>
              </a:gs>
              <a:gs pos="100000">
                <a:srgbClr val="004A8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7228" y="2991229"/>
            <a:ext cx="3923354" cy="1929115"/>
          </a:xfrm>
        </p:spPr>
        <p:txBody>
          <a:bodyPr anchor="t">
            <a:normAutofit/>
          </a:bodyPr>
          <a:lstStyle>
            <a:lvl1pPr algn="ctr">
              <a:defRPr sz="2100" b="1">
                <a:latin typeface="Cambria" panose="02040503050406030204" pitchFamily="18" charset="0"/>
                <a:ea typeface="Cambria" panose="02040503050406030204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648646" y="6406130"/>
            <a:ext cx="8503920" cy="26988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50000">
                <a:srgbClr val="004D86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spcBef>
                <a:spcPct val="0"/>
              </a:spcBef>
              <a:defRPr/>
            </a:pPr>
            <a:endParaRPr lang="en-US" sz="1350" u="sng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60408" y="6394106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E35FA051-85A1-48C3-861B-F3C98AFB19C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328122C-ED52-F02C-7D51-4492AFC971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30406" y="2010947"/>
            <a:ext cx="734292" cy="848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57481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 (NPI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" y="0"/>
            <a:ext cx="9143999" cy="6406130"/>
          </a:xfrm>
          <a:prstGeom prst="rect">
            <a:avLst/>
          </a:prstGeom>
          <a:gradFill>
            <a:gsLst>
              <a:gs pos="16000">
                <a:schemeClr val="bg1"/>
              </a:gs>
              <a:gs pos="52000">
                <a:schemeClr val="accent1">
                  <a:lumMod val="45000"/>
                  <a:lumOff val="55000"/>
                </a:schemeClr>
              </a:gs>
              <a:gs pos="100000">
                <a:srgbClr val="004A8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7228" y="2991229"/>
            <a:ext cx="3973715" cy="1929115"/>
          </a:xfrm>
        </p:spPr>
        <p:txBody>
          <a:bodyPr anchor="t">
            <a:normAutofit/>
          </a:bodyPr>
          <a:lstStyle>
            <a:lvl1pPr algn="ctr">
              <a:defRPr sz="2100" b="1">
                <a:latin typeface="Cambria" panose="02040503050406030204" pitchFamily="18" charset="0"/>
                <a:ea typeface="Cambria" panose="02040503050406030204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648646" y="6406130"/>
            <a:ext cx="8503920" cy="26988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50000">
                <a:srgbClr val="004D86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spcBef>
                <a:spcPct val="0"/>
              </a:spcBef>
              <a:defRPr/>
            </a:pPr>
            <a:endParaRPr lang="en-US" sz="1350" u="sng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60408" y="6394106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E35FA051-85A1-48C3-861B-F3C98AFB19C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54957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 (NPI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ED7FBBE-CF1B-BFFC-AAE3-14335002A829}"/>
              </a:ext>
            </a:extLst>
          </p:cNvPr>
          <p:cNvSpPr/>
          <p:nvPr userDrawn="1"/>
        </p:nvSpPr>
        <p:spPr>
          <a:xfrm>
            <a:off x="0" y="0"/>
            <a:ext cx="9152566" cy="822640"/>
          </a:xfrm>
          <a:prstGeom prst="rect">
            <a:avLst/>
          </a:prstGeom>
          <a:solidFill>
            <a:srgbClr val="173156"/>
          </a:solidFill>
          <a:ln>
            <a:solidFill>
              <a:srgbClr val="17315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60408" y="6394106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>
              <a:defRPr/>
            </a:pPr>
            <a:fld id="{E35FA051-85A1-48C3-861B-F3C98AFB19CF}" type="slidenum">
              <a:rPr lang="en-US" smtClean="0">
                <a:solidFill>
                  <a:prstClr val="black">
                    <a:tint val="75000"/>
                  </a:prstClr>
                </a:solidFill>
                <a:latin typeface="Aptos" panose="02110004020202020204"/>
              </a:rPr>
              <a:pPr defTabSz="685800"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Aptos" panose="02110004020202020204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0022131-E818-D349-EDE8-FAA99D3478D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37150" y="171608"/>
            <a:ext cx="4006850" cy="479424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2D79C33-D20E-17CA-079C-A51BFDD871D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1972" y="180934"/>
            <a:ext cx="5137150" cy="470098"/>
          </a:xfrm>
        </p:spPr>
        <p:txBody>
          <a:bodyPr>
            <a:noAutofit/>
          </a:bodyPr>
          <a:lstStyle>
            <a:lvl1pPr marL="0" indent="0">
              <a:buNone/>
              <a:defRPr sz="2100" b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642469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2490"/>
            <a:ext cx="9142249" cy="6860489"/>
          </a:xfrm>
          <a:prstGeom prst="rect">
            <a:avLst/>
          </a:prstGeom>
          <a:ln>
            <a:noFill/>
          </a:ln>
        </p:spPr>
      </p:pic>
      <p:sp>
        <p:nvSpPr>
          <p:cNvPr id="2" name="Rectangle 1"/>
          <p:cNvSpPr/>
          <p:nvPr userDrawn="1"/>
        </p:nvSpPr>
        <p:spPr bwMode="auto">
          <a:xfrm>
            <a:off x="0" y="-2490"/>
            <a:ext cx="9142248" cy="6860489"/>
          </a:xfrm>
          <a:prstGeom prst="rect">
            <a:avLst/>
          </a:prstGeom>
          <a:solidFill>
            <a:srgbClr val="FFFFFF">
              <a:alpha val="8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50" b="0" i="0" u="sng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7784540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452028A-A410-59FD-B292-97192B6755C2}"/>
              </a:ext>
            </a:extLst>
          </p:cNvPr>
          <p:cNvSpPr/>
          <p:nvPr userDrawn="1"/>
        </p:nvSpPr>
        <p:spPr>
          <a:xfrm>
            <a:off x="0" y="1283"/>
            <a:ext cx="9144000" cy="672662"/>
          </a:xfrm>
          <a:prstGeom prst="rect">
            <a:avLst/>
          </a:prstGeom>
          <a:gradFill>
            <a:gsLst>
              <a:gs pos="16000">
                <a:sysClr val="window" lastClr="FFFFFF"/>
              </a:gs>
              <a:gs pos="52000">
                <a:srgbClr val="156082">
                  <a:lumMod val="45000"/>
                  <a:lumOff val="55000"/>
                </a:srgbClr>
              </a:gs>
              <a:gs pos="100000">
                <a:srgbClr val="004A80"/>
              </a:gs>
            </a:gsLst>
            <a:lin ang="0" scaled="0"/>
          </a:gra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2698" y="1284"/>
            <a:ext cx="8341302" cy="672662"/>
          </a:xfrm>
        </p:spPr>
        <p:txBody>
          <a:bodyPr>
            <a:normAutofit/>
          </a:bodyPr>
          <a:lstStyle>
            <a:lvl1pPr>
              <a:defRPr sz="2100" b="1">
                <a:latin typeface="Cambria" panose="02040503050406030204" pitchFamily="18" charset="0"/>
                <a:ea typeface="Cambria" panose="02040503050406030204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648646" y="6406130"/>
            <a:ext cx="8503920" cy="26988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50000">
                <a:srgbClr val="004D86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spcBef>
                <a:spcPct val="0"/>
              </a:spcBef>
              <a:defRPr/>
            </a:pPr>
            <a:endParaRPr lang="en-US" sz="1350" u="sng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60408" y="6394106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5FA051-85A1-48C3-861B-F3C98AFB19CF}" type="slidenum">
              <a:rPr lang="en-US" smtClean="0"/>
              <a:t>‹#›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DD859CB-31A3-AB4C-BFA2-10E0F39016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3602" y="55259"/>
            <a:ext cx="535494" cy="618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63686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(NPI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BDD4289-46F5-27EE-9D35-D130F9E0DD7E}"/>
              </a:ext>
            </a:extLst>
          </p:cNvPr>
          <p:cNvSpPr/>
          <p:nvPr userDrawn="1"/>
        </p:nvSpPr>
        <p:spPr>
          <a:xfrm>
            <a:off x="0" y="1283"/>
            <a:ext cx="9144000" cy="672662"/>
          </a:xfrm>
          <a:prstGeom prst="rect">
            <a:avLst/>
          </a:prstGeom>
          <a:gradFill>
            <a:gsLst>
              <a:gs pos="16000">
                <a:sysClr val="window" lastClr="FFFFFF"/>
              </a:gs>
              <a:gs pos="52000">
                <a:srgbClr val="156082">
                  <a:lumMod val="45000"/>
                  <a:lumOff val="55000"/>
                </a:srgbClr>
              </a:gs>
              <a:gs pos="100000">
                <a:srgbClr val="004A80"/>
              </a:gs>
            </a:gsLst>
            <a:lin ang="0" scaled="0"/>
          </a:gra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2698" y="1284"/>
            <a:ext cx="8341302" cy="672662"/>
          </a:xfrm>
        </p:spPr>
        <p:txBody>
          <a:bodyPr>
            <a:normAutofit/>
          </a:bodyPr>
          <a:lstStyle>
            <a:lvl1pPr>
              <a:defRPr sz="2100" b="1">
                <a:latin typeface="Cambria" panose="02040503050406030204" pitchFamily="18" charset="0"/>
                <a:ea typeface="Cambria" panose="02040503050406030204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648646" y="6406130"/>
            <a:ext cx="8503920" cy="26988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50000">
                <a:srgbClr val="004D86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spcBef>
                <a:spcPct val="0"/>
              </a:spcBef>
              <a:defRPr/>
            </a:pPr>
            <a:endParaRPr lang="en-US" sz="1350" u="sng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60408" y="6394106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5FA051-85A1-48C3-861B-F3C98AFB19CF}" type="slidenum">
              <a:rPr lang="en-US" smtClean="0"/>
              <a:t>‹#›</a:t>
            </a:fld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DBA5BEA-3AC6-8945-E2BF-6D1CAEB54B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3602" y="55259"/>
            <a:ext cx="535494" cy="618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18054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2489"/>
            <a:ext cx="9142249" cy="6391656"/>
          </a:xfrm>
          <a:prstGeom prst="rect">
            <a:avLst/>
          </a:prstGeom>
          <a:ln>
            <a:noFill/>
          </a:ln>
        </p:spPr>
      </p:pic>
      <p:sp>
        <p:nvSpPr>
          <p:cNvPr id="2" name="Rectangle 1"/>
          <p:cNvSpPr/>
          <p:nvPr/>
        </p:nvSpPr>
        <p:spPr bwMode="auto">
          <a:xfrm>
            <a:off x="-8547" y="-31753"/>
            <a:ext cx="9150795" cy="6420920"/>
          </a:xfrm>
          <a:prstGeom prst="rect">
            <a:avLst/>
          </a:prstGeom>
          <a:solidFill>
            <a:srgbClr val="FFFFFF">
              <a:alpha val="8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50" b="0" i="0" u="sng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2B4ED84E-7C12-423D-AD9C-74E9B73F2DF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93290" y="6455599"/>
            <a:ext cx="417632" cy="359813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8176842F-5038-8E41-E908-E5587280F544}"/>
              </a:ext>
            </a:extLst>
          </p:cNvPr>
          <p:cNvGrpSpPr/>
          <p:nvPr userDrawn="1"/>
        </p:nvGrpSpPr>
        <p:grpSpPr>
          <a:xfrm>
            <a:off x="7939060" y="6467638"/>
            <a:ext cx="732150" cy="318469"/>
            <a:chOff x="8058684" y="6496939"/>
            <a:chExt cx="976200" cy="318469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437D0690-CE15-BB26-2B6E-AD2A002C3444}"/>
                </a:ext>
              </a:extLst>
            </p:cNvPr>
            <p:cNvGrpSpPr/>
            <p:nvPr userDrawn="1"/>
          </p:nvGrpSpPr>
          <p:grpSpPr>
            <a:xfrm>
              <a:off x="8716474" y="6496939"/>
              <a:ext cx="318410" cy="318469"/>
              <a:chOff x="657790" y="6307408"/>
              <a:chExt cx="318410" cy="318469"/>
            </a:xfrm>
          </p:grpSpPr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EBE2BA18-2A10-D3FF-8453-A8F482391499}"/>
                  </a:ext>
                </a:extLst>
              </p:cNvPr>
              <p:cNvSpPr/>
              <p:nvPr/>
            </p:nvSpPr>
            <p:spPr>
              <a:xfrm>
                <a:off x="657790" y="6307408"/>
                <a:ext cx="318410" cy="318469"/>
              </a:xfrm>
              <a:prstGeom prst="ellipse">
                <a:avLst/>
              </a:prstGeom>
              <a:solidFill>
                <a:srgbClr val="D6E0F4">
                  <a:hueOff val="0"/>
                  <a:satOff val="0"/>
                  <a:lumOff val="0"/>
                  <a:alphaOff val="0"/>
                </a:srgbClr>
              </a:solidFill>
              <a:ln w="6350" cap="flat" cmpd="sng" algn="ctr">
                <a:solidFill>
                  <a:srgbClr val="FFFFFF">
                    <a:hueOff val="0"/>
                    <a:satOff val="0"/>
                    <a:lumOff val="0"/>
                    <a:alphaOff val="0"/>
                  </a:srgbClr>
                </a:solidFill>
                <a:prstDash val="solid"/>
              </a:ln>
              <a:effectLst/>
            </p:spPr>
          </p:sp>
          <p:sp>
            <p:nvSpPr>
              <p:cNvPr id="35" name="Freeform 35">
                <a:extLst>
                  <a:ext uri="{FF2B5EF4-FFF2-40B4-BE49-F238E27FC236}">
                    <a16:creationId xmlns:a16="http://schemas.microsoft.com/office/drawing/2014/main" id="{3C23CB87-5F0D-ECFC-8622-7352CA7CA040}"/>
                  </a:ext>
                </a:extLst>
              </p:cNvPr>
              <p:cNvSpPr/>
              <p:nvPr/>
            </p:nvSpPr>
            <p:spPr>
              <a:xfrm>
                <a:off x="668362" y="6318025"/>
                <a:ext cx="297266" cy="297234"/>
              </a:xfrm>
              <a:custGeom>
                <a:avLst/>
                <a:gdLst>
                  <a:gd name="connsiteX0" fmla="*/ 0 w 1718142"/>
                  <a:gd name="connsiteY0" fmla="*/ 858980 h 1717959"/>
                  <a:gd name="connsiteX1" fmla="*/ 859071 w 1718142"/>
                  <a:gd name="connsiteY1" fmla="*/ 0 h 1717959"/>
                  <a:gd name="connsiteX2" fmla="*/ 1718142 w 1718142"/>
                  <a:gd name="connsiteY2" fmla="*/ 858980 h 1717959"/>
                  <a:gd name="connsiteX3" fmla="*/ 859071 w 1718142"/>
                  <a:gd name="connsiteY3" fmla="*/ 1717960 h 1717959"/>
                  <a:gd name="connsiteX4" fmla="*/ 0 w 1718142"/>
                  <a:gd name="connsiteY4" fmla="*/ 858980 h 1717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18142" h="1717959">
                    <a:moveTo>
                      <a:pt x="0" y="858980"/>
                    </a:moveTo>
                    <a:cubicBezTo>
                      <a:pt x="0" y="384578"/>
                      <a:pt x="384619" y="0"/>
                      <a:pt x="859071" y="0"/>
                    </a:cubicBezTo>
                    <a:cubicBezTo>
                      <a:pt x="1333523" y="0"/>
                      <a:pt x="1718142" y="384578"/>
                      <a:pt x="1718142" y="858980"/>
                    </a:cubicBezTo>
                    <a:cubicBezTo>
                      <a:pt x="1718142" y="1333382"/>
                      <a:pt x="1333523" y="1717960"/>
                      <a:pt x="859071" y="1717960"/>
                    </a:cubicBezTo>
                    <a:cubicBezTo>
                      <a:pt x="384619" y="1717960"/>
                      <a:pt x="0" y="1333382"/>
                      <a:pt x="0" y="858980"/>
                    </a:cubicBezTo>
                    <a:close/>
                  </a:path>
                </a:pathLst>
              </a:custGeom>
              <a:solidFill>
                <a:srgbClr val="FFFFFF">
                  <a:alpha val="90000"/>
                  <a:hueOff val="0"/>
                  <a:satOff val="0"/>
                  <a:lumOff val="0"/>
                  <a:alphaOff val="0"/>
                </a:srgbClr>
              </a:solidFill>
              <a:ln w="6350" cap="flat" cmpd="sng" algn="ctr">
                <a:solidFill>
                  <a:srgbClr val="D6E0F4">
                    <a:lumMod val="50000"/>
                  </a:srgbClr>
                </a:solidFill>
                <a:prstDash val="solid"/>
              </a:ln>
              <a:effectLst/>
            </p:spPr>
            <p:txBody>
              <a:bodyPr spcFirstLastPara="0" vert="horz" wrap="square" lIns="292610" tIns="292459" rIns="292610" bIns="292459" numCol="1" spcCol="1270" anchor="ctr" anchorCtr="0">
                <a:noAutofit/>
              </a:bodyPr>
              <a:lstStyle/>
              <a:p>
                <a:pPr marL="0" marR="0" lvl="0" indent="0" algn="ctr" defTabSz="1233488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500" b="0" i="0" u="none" strike="noStrike" kern="0" cap="none" spc="0" normalizeH="0" baseline="0" noProof="0">
                    <a:ln>
                      <a:noFill/>
                    </a:ln>
                    <a:solidFill>
                      <a:srgbClr val="003399">
                        <a:lumMod val="50000"/>
                      </a:srgbClr>
                    </a:solidFill>
                    <a:effectLst/>
                    <a:uLnTx/>
                    <a:uFillTx/>
                    <a:latin typeface="Tw Cen MT Condensed" panose="020B0606020104020203" pitchFamily="34" charset="0"/>
                    <a:ea typeface="+mn-ea"/>
                    <a:cs typeface="Times New Roman"/>
                  </a:rPr>
                  <a:t>P</a:t>
                </a:r>
              </a:p>
            </p:txBody>
          </p: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576746DE-AF9E-1B30-BC60-71D3FF2DC35E}"/>
                </a:ext>
              </a:extLst>
            </p:cNvPr>
            <p:cNvGrpSpPr/>
            <p:nvPr userDrawn="1"/>
          </p:nvGrpSpPr>
          <p:grpSpPr>
            <a:xfrm>
              <a:off x="8387771" y="6497324"/>
              <a:ext cx="317644" cy="317643"/>
              <a:chOff x="329087" y="6307793"/>
              <a:chExt cx="317644" cy="317643"/>
            </a:xfrm>
          </p:grpSpPr>
          <p:sp>
            <p:nvSpPr>
              <p:cNvPr id="32" name="Teardrop 31">
                <a:extLst>
                  <a:ext uri="{FF2B5EF4-FFF2-40B4-BE49-F238E27FC236}">
                    <a16:creationId xmlns:a16="http://schemas.microsoft.com/office/drawing/2014/main" id="{88ED8E0D-56DF-C204-45D9-12046A8BFDEB}"/>
                  </a:ext>
                </a:extLst>
              </p:cNvPr>
              <p:cNvSpPr/>
              <p:nvPr/>
            </p:nvSpPr>
            <p:spPr>
              <a:xfrm rot="2700000">
                <a:off x="329087" y="6307793"/>
                <a:ext cx="317643" cy="317644"/>
              </a:xfrm>
              <a:prstGeom prst="teardrop">
                <a:avLst>
                  <a:gd name="adj" fmla="val 100000"/>
                </a:avLst>
              </a:prstGeom>
              <a:solidFill>
                <a:srgbClr val="D6E0F4">
                  <a:hueOff val="36"/>
                  <a:satOff val="21154"/>
                  <a:lumOff val="-29902"/>
                  <a:alphaOff val="0"/>
                </a:srgbClr>
              </a:solidFill>
              <a:ln w="6350" cap="flat" cmpd="sng" algn="ctr">
                <a:solidFill>
                  <a:srgbClr val="FFFFFF">
                    <a:hueOff val="0"/>
                    <a:satOff val="0"/>
                    <a:lumOff val="0"/>
                    <a:alphaOff val="0"/>
                  </a:srgbClr>
                </a:solidFill>
                <a:prstDash val="solid"/>
              </a:ln>
              <a:effectLst/>
            </p:spPr>
          </p:sp>
          <p:sp>
            <p:nvSpPr>
              <p:cNvPr id="33" name="Freeform 33">
                <a:extLst>
                  <a:ext uri="{FF2B5EF4-FFF2-40B4-BE49-F238E27FC236}">
                    <a16:creationId xmlns:a16="http://schemas.microsoft.com/office/drawing/2014/main" id="{F2CBA460-73D9-B546-EE8F-FB85B7B0FEFD}"/>
                  </a:ext>
                </a:extLst>
              </p:cNvPr>
              <p:cNvSpPr/>
              <p:nvPr/>
            </p:nvSpPr>
            <p:spPr>
              <a:xfrm>
                <a:off x="339275" y="6318025"/>
                <a:ext cx="297266" cy="297234"/>
              </a:xfrm>
              <a:custGeom>
                <a:avLst/>
                <a:gdLst>
                  <a:gd name="connsiteX0" fmla="*/ 0 w 1718142"/>
                  <a:gd name="connsiteY0" fmla="*/ 858980 h 1717959"/>
                  <a:gd name="connsiteX1" fmla="*/ 859071 w 1718142"/>
                  <a:gd name="connsiteY1" fmla="*/ 0 h 1717959"/>
                  <a:gd name="connsiteX2" fmla="*/ 1718142 w 1718142"/>
                  <a:gd name="connsiteY2" fmla="*/ 858980 h 1717959"/>
                  <a:gd name="connsiteX3" fmla="*/ 859071 w 1718142"/>
                  <a:gd name="connsiteY3" fmla="*/ 1717960 h 1717959"/>
                  <a:gd name="connsiteX4" fmla="*/ 0 w 1718142"/>
                  <a:gd name="connsiteY4" fmla="*/ 858980 h 1717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18142" h="1717959">
                    <a:moveTo>
                      <a:pt x="0" y="858980"/>
                    </a:moveTo>
                    <a:cubicBezTo>
                      <a:pt x="0" y="384578"/>
                      <a:pt x="384619" y="0"/>
                      <a:pt x="859071" y="0"/>
                    </a:cubicBezTo>
                    <a:cubicBezTo>
                      <a:pt x="1333523" y="0"/>
                      <a:pt x="1718142" y="384578"/>
                      <a:pt x="1718142" y="858980"/>
                    </a:cubicBezTo>
                    <a:cubicBezTo>
                      <a:pt x="1718142" y="1333382"/>
                      <a:pt x="1333523" y="1717960"/>
                      <a:pt x="859071" y="1717960"/>
                    </a:cubicBezTo>
                    <a:cubicBezTo>
                      <a:pt x="384619" y="1717960"/>
                      <a:pt x="0" y="1333382"/>
                      <a:pt x="0" y="858980"/>
                    </a:cubicBezTo>
                    <a:close/>
                  </a:path>
                </a:pathLst>
              </a:custGeom>
              <a:solidFill>
                <a:srgbClr val="FFFFFF">
                  <a:alpha val="90000"/>
                  <a:hueOff val="0"/>
                  <a:satOff val="0"/>
                  <a:lumOff val="0"/>
                  <a:alphaOff val="0"/>
                </a:srgbClr>
              </a:solidFill>
              <a:ln w="6350" cap="flat" cmpd="sng" algn="ctr">
                <a:solidFill>
                  <a:srgbClr val="D6E0F4">
                    <a:hueOff val="36"/>
                    <a:satOff val="21154"/>
                    <a:lumOff val="-29902"/>
                    <a:alphaOff val="0"/>
                  </a:srgbClr>
                </a:solidFill>
                <a:prstDash val="solid"/>
              </a:ln>
              <a:effectLst/>
            </p:spPr>
            <p:txBody>
              <a:bodyPr spcFirstLastPara="0" vert="horz" wrap="square" lIns="292610" tIns="292459" rIns="292610" bIns="292459" numCol="1" spcCol="1270" anchor="ctr" anchorCtr="0">
                <a:noAutofit/>
              </a:bodyPr>
              <a:lstStyle/>
              <a:p>
                <a:pPr marL="0" marR="0" lvl="0" indent="0" algn="ctr" defTabSz="1233488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500" b="0" i="0" u="none" strike="noStrike" kern="0" cap="none" spc="0" normalizeH="0" baseline="0" noProof="0">
                    <a:ln>
                      <a:noFill/>
                    </a:ln>
                    <a:solidFill>
                      <a:srgbClr val="003399">
                        <a:lumMod val="50000"/>
                      </a:srgbClr>
                    </a:solidFill>
                    <a:effectLst/>
                    <a:uLnTx/>
                    <a:uFillTx/>
                    <a:latin typeface="Tw Cen MT Condensed" panose="020B0606020104020203" pitchFamily="34" charset="0"/>
                    <a:ea typeface="+mn-ea"/>
                    <a:cs typeface="Times New Roman"/>
                  </a:rPr>
                  <a:t>2</a:t>
                </a:r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ACB43A3A-D3F8-36FD-86D4-D47E2472886B}"/>
                </a:ext>
              </a:extLst>
            </p:cNvPr>
            <p:cNvGrpSpPr/>
            <p:nvPr userDrawn="1"/>
          </p:nvGrpSpPr>
          <p:grpSpPr>
            <a:xfrm>
              <a:off x="8058684" y="6497324"/>
              <a:ext cx="317644" cy="317643"/>
              <a:chOff x="0" y="6307793"/>
              <a:chExt cx="317644" cy="317643"/>
            </a:xfrm>
          </p:grpSpPr>
          <p:sp>
            <p:nvSpPr>
              <p:cNvPr id="30" name="Teardrop 29">
                <a:extLst>
                  <a:ext uri="{FF2B5EF4-FFF2-40B4-BE49-F238E27FC236}">
                    <a16:creationId xmlns:a16="http://schemas.microsoft.com/office/drawing/2014/main" id="{31C66C27-6377-F5FA-779E-55390E6A4B2D}"/>
                  </a:ext>
                </a:extLst>
              </p:cNvPr>
              <p:cNvSpPr/>
              <p:nvPr/>
            </p:nvSpPr>
            <p:spPr>
              <a:xfrm rot="2700000">
                <a:off x="0" y="6307793"/>
                <a:ext cx="317643" cy="317644"/>
              </a:xfrm>
              <a:prstGeom prst="teardrop">
                <a:avLst>
                  <a:gd name="adj" fmla="val 100000"/>
                </a:avLst>
              </a:prstGeom>
              <a:solidFill>
                <a:srgbClr val="D6E0F4">
                  <a:hueOff val="71"/>
                  <a:satOff val="42308"/>
                  <a:lumOff val="-59804"/>
                  <a:alphaOff val="0"/>
                </a:srgbClr>
              </a:solidFill>
              <a:ln w="6350" cap="flat" cmpd="sng" algn="ctr">
                <a:solidFill>
                  <a:srgbClr val="FFFFFF">
                    <a:hueOff val="0"/>
                    <a:satOff val="0"/>
                    <a:lumOff val="0"/>
                    <a:alphaOff val="0"/>
                  </a:srgbClr>
                </a:solidFill>
                <a:prstDash val="solid"/>
              </a:ln>
              <a:effectLst/>
            </p:spPr>
          </p:sp>
          <p:sp>
            <p:nvSpPr>
              <p:cNvPr id="31" name="Freeform 31">
                <a:extLst>
                  <a:ext uri="{FF2B5EF4-FFF2-40B4-BE49-F238E27FC236}">
                    <a16:creationId xmlns:a16="http://schemas.microsoft.com/office/drawing/2014/main" id="{8BBC3D52-F3AA-C13D-6D10-136D4025E8A2}"/>
                  </a:ext>
                </a:extLst>
              </p:cNvPr>
              <p:cNvSpPr/>
              <p:nvPr/>
            </p:nvSpPr>
            <p:spPr>
              <a:xfrm>
                <a:off x="10189" y="6318025"/>
                <a:ext cx="297266" cy="297234"/>
              </a:xfrm>
              <a:custGeom>
                <a:avLst/>
                <a:gdLst>
                  <a:gd name="connsiteX0" fmla="*/ 0 w 1718142"/>
                  <a:gd name="connsiteY0" fmla="*/ 858980 h 1717959"/>
                  <a:gd name="connsiteX1" fmla="*/ 859071 w 1718142"/>
                  <a:gd name="connsiteY1" fmla="*/ 0 h 1717959"/>
                  <a:gd name="connsiteX2" fmla="*/ 1718142 w 1718142"/>
                  <a:gd name="connsiteY2" fmla="*/ 858980 h 1717959"/>
                  <a:gd name="connsiteX3" fmla="*/ 859071 w 1718142"/>
                  <a:gd name="connsiteY3" fmla="*/ 1717960 h 1717959"/>
                  <a:gd name="connsiteX4" fmla="*/ 0 w 1718142"/>
                  <a:gd name="connsiteY4" fmla="*/ 858980 h 1717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18142" h="1717959">
                    <a:moveTo>
                      <a:pt x="0" y="858980"/>
                    </a:moveTo>
                    <a:cubicBezTo>
                      <a:pt x="0" y="384578"/>
                      <a:pt x="384619" y="0"/>
                      <a:pt x="859071" y="0"/>
                    </a:cubicBezTo>
                    <a:cubicBezTo>
                      <a:pt x="1333523" y="0"/>
                      <a:pt x="1718142" y="384578"/>
                      <a:pt x="1718142" y="858980"/>
                    </a:cubicBezTo>
                    <a:cubicBezTo>
                      <a:pt x="1718142" y="1333382"/>
                      <a:pt x="1333523" y="1717960"/>
                      <a:pt x="859071" y="1717960"/>
                    </a:cubicBezTo>
                    <a:cubicBezTo>
                      <a:pt x="384619" y="1717960"/>
                      <a:pt x="0" y="1333382"/>
                      <a:pt x="0" y="858980"/>
                    </a:cubicBezTo>
                    <a:close/>
                  </a:path>
                </a:pathLst>
              </a:custGeom>
              <a:solidFill>
                <a:srgbClr val="FFFFFF">
                  <a:alpha val="90000"/>
                  <a:hueOff val="0"/>
                  <a:satOff val="0"/>
                  <a:lumOff val="0"/>
                  <a:alphaOff val="0"/>
                </a:srgbClr>
              </a:solidFill>
              <a:ln w="6350" cap="flat" cmpd="sng" algn="ctr">
                <a:solidFill>
                  <a:srgbClr val="D6E0F4">
                    <a:hueOff val="71"/>
                    <a:satOff val="42308"/>
                    <a:lumOff val="-59804"/>
                    <a:alphaOff val="0"/>
                  </a:srgbClr>
                </a:solidFill>
                <a:prstDash val="solid"/>
              </a:ln>
              <a:effectLst/>
            </p:spPr>
            <p:txBody>
              <a:bodyPr spcFirstLastPara="0" vert="horz" wrap="square" lIns="292611" tIns="292459" rIns="292609" bIns="292459" numCol="1" spcCol="1270" anchor="ctr" anchorCtr="0">
                <a:noAutofit/>
              </a:bodyPr>
              <a:lstStyle/>
              <a:p>
                <a:pPr marL="0" marR="0" lvl="0" indent="0" algn="ctr" defTabSz="1233488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500" b="0" i="0" u="none" strike="noStrike" kern="0" cap="none" spc="0" normalizeH="0" baseline="0" noProof="0">
                    <a:ln>
                      <a:noFill/>
                    </a:ln>
                    <a:solidFill>
                      <a:srgbClr val="003399">
                        <a:lumMod val="50000"/>
                      </a:srgbClr>
                    </a:solidFill>
                    <a:effectLst/>
                    <a:uLnTx/>
                    <a:uFillTx/>
                    <a:latin typeface="Tw Cen MT Condensed" panose="020B0606020104020203" pitchFamily="34" charset="0"/>
                    <a:ea typeface="+mn-ea"/>
                    <a:cs typeface="Times New Roman"/>
                  </a:rPr>
                  <a:t>P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268259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35BAD41-C5BD-40B8-891F-DE1E0663FA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454903429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73" imgH="473" progId="TCLayout.ActiveDocument.1">
                  <p:embed/>
                </p:oleObj>
              </mc:Choice>
              <mc:Fallback>
                <p:oleObj name="think-cell Slide" r:id="rId13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35BAD41-C5BD-40B8-891F-DE1E0663FA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5FA051-85A1-48C3-861B-F3C98AFB19C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4310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  <p:sldLayoutId id="2147483731" r:id="rId10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Process Map Templat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0F8A7F8B-4DA1-A157-FCBF-2C2F49DD75BF}"/>
              </a:ext>
            </a:extLst>
          </p:cNvPr>
          <p:cNvSpPr/>
          <p:nvPr/>
        </p:nvSpPr>
        <p:spPr>
          <a:xfrm>
            <a:off x="0" y="673946"/>
            <a:ext cx="9144000" cy="548386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[Title]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471F433-03EA-34ED-CA78-633047B9D8D6}"/>
              </a:ext>
            </a:extLst>
          </p:cNvPr>
          <p:cNvSpPr/>
          <p:nvPr/>
        </p:nvSpPr>
        <p:spPr>
          <a:xfrm>
            <a:off x="0" y="1222335"/>
            <a:ext cx="223935" cy="1688843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vert="vert27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[Workstream Owner]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E9DC992-BDA7-9A5E-32FF-E8A50C3AC77F}"/>
              </a:ext>
            </a:extLst>
          </p:cNvPr>
          <p:cNvSpPr/>
          <p:nvPr/>
        </p:nvSpPr>
        <p:spPr>
          <a:xfrm>
            <a:off x="-3" y="2911178"/>
            <a:ext cx="223935" cy="1688843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vert="vert27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[Workstream Owner]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B6CC9BA-DB38-4B6B-382B-D16A060F3EE7}"/>
              </a:ext>
            </a:extLst>
          </p:cNvPr>
          <p:cNvSpPr/>
          <p:nvPr/>
        </p:nvSpPr>
        <p:spPr>
          <a:xfrm>
            <a:off x="0" y="4600021"/>
            <a:ext cx="223935" cy="1688843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vert="vert27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[Workstream Owner]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FCE5DC41-1756-8901-FAB1-1D4323D0EA34}"/>
              </a:ext>
            </a:extLst>
          </p:cNvPr>
          <p:cNvCxnSpPr>
            <a:cxnSpLocks/>
          </p:cNvCxnSpPr>
          <p:nvPr/>
        </p:nvCxnSpPr>
        <p:spPr>
          <a:xfrm>
            <a:off x="223932" y="2911178"/>
            <a:ext cx="8920068" cy="0"/>
          </a:xfrm>
          <a:prstGeom prst="line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878F853C-2AC4-CE8E-2CE3-06EA96682E1C}"/>
              </a:ext>
            </a:extLst>
          </p:cNvPr>
          <p:cNvCxnSpPr>
            <a:cxnSpLocks/>
          </p:cNvCxnSpPr>
          <p:nvPr/>
        </p:nvCxnSpPr>
        <p:spPr>
          <a:xfrm>
            <a:off x="223932" y="4600021"/>
            <a:ext cx="8920068" cy="0"/>
          </a:xfrm>
          <a:prstGeom prst="line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AEFA9C93-32F8-29DA-4449-D701A1F952B5}"/>
              </a:ext>
            </a:extLst>
          </p:cNvPr>
          <p:cNvCxnSpPr>
            <a:cxnSpLocks/>
          </p:cNvCxnSpPr>
          <p:nvPr/>
        </p:nvCxnSpPr>
        <p:spPr>
          <a:xfrm>
            <a:off x="223932" y="6288864"/>
            <a:ext cx="8920068" cy="0"/>
          </a:xfrm>
          <a:prstGeom prst="line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  <p:sp>
        <p:nvSpPr>
          <p:cNvPr id="45" name="Flowchart: Terminator 44">
            <a:extLst>
              <a:ext uri="{FF2B5EF4-FFF2-40B4-BE49-F238E27FC236}">
                <a16:creationId xmlns:a16="http://schemas.microsoft.com/office/drawing/2014/main" id="{CAAB3C1D-C6A4-00F5-A914-1D2DE632D413}"/>
              </a:ext>
            </a:extLst>
          </p:cNvPr>
          <p:cNvSpPr/>
          <p:nvPr/>
        </p:nvSpPr>
        <p:spPr>
          <a:xfrm>
            <a:off x="305566" y="1549402"/>
            <a:ext cx="555264" cy="183237"/>
          </a:xfrm>
          <a:prstGeom prst="flowChartTerminator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RT</a:t>
            </a: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EFCC1F39-3A32-9EB2-7140-D7E5DC8944D5}"/>
              </a:ext>
            </a:extLst>
          </p:cNvPr>
          <p:cNvCxnSpPr>
            <a:cxnSpLocks/>
            <a:stCxn id="45" idx="3"/>
          </p:cNvCxnSpPr>
          <p:nvPr/>
        </p:nvCxnSpPr>
        <p:spPr>
          <a:xfrm>
            <a:off x="860830" y="1641021"/>
            <a:ext cx="258843" cy="0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</p:spTree>
    <p:custDataLst>
      <p:tags r:id="rId1"/>
    </p:custDataLst>
    <p:extLst>
      <p:ext uri="{BB962C8B-B14F-4D97-AF65-F5344CB8AC3E}">
        <p14:creationId xmlns:p14="http://schemas.microsoft.com/office/powerpoint/2010/main" val="19921889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DF009F-C9F5-E379-755F-16546C99EC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cess Map Shape Repository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CE1767C-A2B0-13BC-BC99-6C42337A9953}"/>
              </a:ext>
            </a:extLst>
          </p:cNvPr>
          <p:cNvSpPr/>
          <p:nvPr/>
        </p:nvSpPr>
        <p:spPr>
          <a:xfrm>
            <a:off x="1650742" y="1488385"/>
            <a:ext cx="1952429" cy="1650396"/>
          </a:xfrm>
          <a:prstGeom prst="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Process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56BCDD7-AADA-509D-A3CA-9BD8CFFDC497}"/>
              </a:ext>
            </a:extLst>
          </p:cNvPr>
          <p:cNvGrpSpPr/>
          <p:nvPr/>
        </p:nvGrpSpPr>
        <p:grpSpPr>
          <a:xfrm>
            <a:off x="1481319" y="3604054"/>
            <a:ext cx="2358177" cy="2094102"/>
            <a:chOff x="1240971" y="2711411"/>
            <a:chExt cx="963693" cy="672662"/>
          </a:xfrm>
        </p:grpSpPr>
        <p:sp>
          <p:nvSpPr>
            <p:cNvPr id="12" name="Flowchart: Decision 11">
              <a:extLst>
                <a:ext uri="{FF2B5EF4-FFF2-40B4-BE49-F238E27FC236}">
                  <a16:creationId xmlns:a16="http://schemas.microsoft.com/office/drawing/2014/main" id="{2AE59DD0-FA3D-C399-049D-F6732AC56583}"/>
                </a:ext>
              </a:extLst>
            </p:cNvPr>
            <p:cNvSpPr/>
            <p:nvPr/>
          </p:nvSpPr>
          <p:spPr>
            <a:xfrm>
              <a:off x="1240971" y="2711411"/>
              <a:ext cx="963693" cy="672662"/>
            </a:xfrm>
            <a:prstGeom prst="flowChartDecision">
              <a:avLst/>
            </a:prstGeom>
            <a:solidFill>
              <a:srgbClr val="4472C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412BAB87-59AC-8D24-2D84-1572816169FA}"/>
                </a:ext>
              </a:extLst>
            </p:cNvPr>
            <p:cNvSpPr txBox="1"/>
            <p:nvPr/>
          </p:nvSpPr>
          <p:spPr>
            <a:xfrm>
              <a:off x="1287801" y="2973023"/>
              <a:ext cx="864403" cy="1087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mbria" panose="02040503050406030204" pitchFamily="18" charset="0"/>
                  <a:ea typeface="Cambria" panose="02040503050406030204" pitchFamily="18" charset="0"/>
                </a:rPr>
                <a:t>Decision</a:t>
              </a:r>
            </a:p>
          </p:txBody>
        </p:sp>
      </p:grpSp>
      <p:sp>
        <p:nvSpPr>
          <p:cNvPr id="14" name="Flowchart: Terminator 13">
            <a:extLst>
              <a:ext uri="{FF2B5EF4-FFF2-40B4-BE49-F238E27FC236}">
                <a16:creationId xmlns:a16="http://schemas.microsoft.com/office/drawing/2014/main" id="{CF530DAA-564F-3C83-89F0-9342598776A8}"/>
              </a:ext>
            </a:extLst>
          </p:cNvPr>
          <p:cNvSpPr/>
          <p:nvPr/>
        </p:nvSpPr>
        <p:spPr>
          <a:xfrm>
            <a:off x="4572000" y="1910424"/>
            <a:ext cx="2650567" cy="776788"/>
          </a:xfrm>
          <a:prstGeom prst="flowChartTerminator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START</a:t>
            </a:r>
          </a:p>
        </p:txBody>
      </p:sp>
      <p:sp>
        <p:nvSpPr>
          <p:cNvPr id="15" name="Flowchart: Terminator 14">
            <a:extLst>
              <a:ext uri="{FF2B5EF4-FFF2-40B4-BE49-F238E27FC236}">
                <a16:creationId xmlns:a16="http://schemas.microsoft.com/office/drawing/2014/main" id="{ED1D5A7E-78C1-FE55-2C8B-09219C7C0B4E}"/>
              </a:ext>
            </a:extLst>
          </p:cNvPr>
          <p:cNvSpPr/>
          <p:nvPr/>
        </p:nvSpPr>
        <p:spPr>
          <a:xfrm>
            <a:off x="4572000" y="4152266"/>
            <a:ext cx="2650567" cy="776788"/>
          </a:xfrm>
          <a:prstGeom prst="flowChartTerminator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END</a:t>
            </a:r>
          </a:p>
        </p:txBody>
      </p:sp>
    </p:spTree>
    <p:extLst>
      <p:ext uri="{BB962C8B-B14F-4D97-AF65-F5344CB8AC3E}">
        <p14:creationId xmlns:p14="http://schemas.microsoft.com/office/powerpoint/2010/main" val="34991399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F1D42F-C932-223D-88D8-3808A2D2F3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71A1F1-3A05-D5C2-E0C0-57FD41726A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truction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8668C19-DB66-E6BF-D034-41FB9A816C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35FA051-85A1-48C3-861B-F3C98AFB19CF}" type="slidenum">
              <a:rPr lang="en-US" smtClean="0"/>
              <a:t>2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54A953F-E39D-464D-C564-E859AEE89CCD}"/>
              </a:ext>
            </a:extLst>
          </p:cNvPr>
          <p:cNvSpPr txBox="1"/>
          <p:nvPr/>
        </p:nvSpPr>
        <p:spPr>
          <a:xfrm>
            <a:off x="457200" y="1828800"/>
            <a:ext cx="8229600" cy="30854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latin typeface="Cambria" panose="02040503050406030204" pitchFamily="18" charset="0"/>
                <a:ea typeface="Cambria" panose="02040503050406030204" pitchFamily="18" charset="0"/>
              </a:rPr>
              <a:t>How do we apply Current State Process Mapping?</a:t>
            </a:r>
          </a:p>
          <a:p>
            <a:endParaRPr lang="en-US" sz="1400" b="1" dirty="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r>
              <a:rPr lang="en-US" sz="1400" dirty="0">
                <a:latin typeface="Cambria" panose="02040503050406030204" pitchFamily="18" charset="0"/>
                <a:ea typeface="Cambria" panose="02040503050406030204" pitchFamily="18" charset="0"/>
              </a:rPr>
              <a:t>1. Create a cross-functional team of employees from a wide range of positions within the organization. Decide scope of current state to be mapped. </a:t>
            </a:r>
          </a:p>
          <a:p>
            <a:r>
              <a:rPr lang="en-US" sz="1400" dirty="0">
                <a:latin typeface="Cambria" panose="02040503050406030204" pitchFamily="18" charset="0"/>
                <a:ea typeface="Cambria" panose="02040503050406030204" pitchFamily="18" charset="0"/>
              </a:rPr>
              <a:t>2. Develop the Current State Process Map by breaking down each operation into specific tasks. Draw out this process as a team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  <a:latin typeface="Cambria"/>
                <a:ea typeface="Cambria"/>
                <a:cs typeface="Arial"/>
              </a:rPr>
              <a:t>Go to </a:t>
            </a:r>
            <a:r>
              <a:rPr lang="en-US" sz="1400" dirty="0" err="1">
                <a:solidFill>
                  <a:srgbClr val="000000"/>
                </a:solidFill>
                <a:latin typeface="Cambria"/>
                <a:ea typeface="Cambria"/>
                <a:cs typeface="Arial"/>
              </a:rPr>
              <a:t>Deckplate</a:t>
            </a:r>
            <a:r>
              <a:rPr lang="en-US" sz="1400" dirty="0">
                <a:solidFill>
                  <a:srgbClr val="000000"/>
                </a:solidFill>
                <a:latin typeface="Cambria"/>
                <a:ea typeface="Cambria"/>
                <a:cs typeface="Arial"/>
              </a:rPr>
              <a:t>, the place of value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  <a:latin typeface="Cambria"/>
                <a:ea typeface="Cambria"/>
                <a:cs typeface="Arial"/>
              </a:rPr>
              <a:t>Observe current state, document steps, timings, flow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  <a:latin typeface="Cambria"/>
                <a:ea typeface="Cambria"/>
                <a:cs typeface="Arial"/>
              </a:rPr>
              <a:t>Document a visual depiction (process map) of how the “thing” (e.g., information, material, work order, person) travels through the sequence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  <a:latin typeface="Cambria"/>
                <a:ea typeface="Cambria"/>
                <a:cs typeface="Arial"/>
              </a:rPr>
              <a:t>Develop preliminary hypotheses for future state improvements</a:t>
            </a:r>
          </a:p>
          <a:p>
            <a:endParaRPr lang="en-US" sz="1350" dirty="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1350" dirty="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1350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2206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DF2ED056-4D80-3E3C-67A1-9880A271B1F5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t="14308"/>
          <a:stretch/>
        </p:blipFill>
        <p:spPr>
          <a:xfrm>
            <a:off x="0" y="1359077"/>
            <a:ext cx="9144000" cy="4010241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20D4C26-8125-4BB2-AAD7-D4FDA702BC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20D4C26-8125-4BB2-AAD7-D4FDA702B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67410EB-30E3-4C71-A260-DAAEAA0260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rocess Map Examp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D19BDF7-BB38-49D2-A6E4-73F7A46F00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685800">
              <a:defRPr/>
            </a:pPr>
            <a:fld id="{E35FA051-85A1-48C3-861B-F3C98AFB19CF}" type="slidenum">
              <a:rPr lang="en-US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defTabSz="685800">
                <a:defRPr/>
              </a:pPr>
              <a:t>3</a:t>
            </a:fld>
            <a:endParaRPr lang="en-US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1065807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Newspaper_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30e15a99-2787-4658-9a49-e1375a37af84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CE74FF56111874F8528354EA601358C" ma:contentTypeVersion="15" ma:contentTypeDescription="Create a new document." ma:contentTypeScope="" ma:versionID="39331e745dc778cb1aa6f5171bc1f610">
  <xsd:schema xmlns:xsd="http://www.w3.org/2001/XMLSchema" xmlns:xs="http://www.w3.org/2001/XMLSchema" xmlns:p="http://schemas.microsoft.com/office/2006/metadata/properties" xmlns:ns3="f29e537e-536d-4c3d-a73c-f40e94626c0e" xmlns:ns4="30e15a99-2787-4658-9a49-e1375a37af84" targetNamespace="http://schemas.microsoft.com/office/2006/metadata/properties" ma:root="true" ma:fieldsID="6abba0b5ca7a753c92c88983c2f4a18d" ns3:_="" ns4:_="">
    <xsd:import namespace="f29e537e-536d-4c3d-a73c-f40e94626c0e"/>
    <xsd:import namespace="30e15a99-2787-4658-9a49-e1375a37af84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LengthInSeconds" minOccurs="0"/>
                <xsd:element ref="ns4:_activity" minOccurs="0"/>
                <xsd:element ref="ns4:MediaServiceAutoTags" minOccurs="0"/>
                <xsd:element ref="ns4:MediaServiceGenerationTime" minOccurs="0"/>
                <xsd:element ref="ns4:MediaServiceEventHashCode" minOccurs="0"/>
                <xsd:element ref="ns4:MediaServiceOCR" minOccurs="0"/>
                <xsd:element ref="ns4:MediaServiceObjectDetectorVersions" minOccurs="0"/>
                <xsd:element ref="ns4:MediaServiceSystemTags" minOccurs="0"/>
                <xsd:element ref="ns4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9e537e-536d-4c3d-a73c-f40e94626c0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0e15a99-2787-4658-9a49-e1375a37af8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_activity" ma:index="15" nillable="true" ma:displayName="_activity" ma:hidden="true" ma:internalName="_activity">
      <xsd:simpleType>
        <xsd:restriction base="dms:Note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21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9BF4034-BAF3-4EA9-A8B9-A78B9509C31E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infopath/2007/PartnerControls"/>
    <ds:schemaRef ds:uri="http://schemas.microsoft.com/office/2006/documentManagement/types"/>
    <ds:schemaRef ds:uri="f29e537e-536d-4c3d-a73c-f40e94626c0e"/>
    <ds:schemaRef ds:uri="30e15a99-2787-4658-9a49-e1375a37af84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75F977BF-63E1-443E-A6CB-777D0AF454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29e537e-536d-4c3d-a73c-f40e94626c0e"/>
    <ds:schemaRef ds:uri="30e15a99-2787-4658-9a49-e1375a37af8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B26A06D-DFDE-4D5E-89C2-260309D41A2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</TotalTime>
  <Words>159</Words>
  <Application>Microsoft Office PowerPoint</Application>
  <PresentationFormat>On-screen Show (4:3)</PresentationFormat>
  <Paragraphs>27</Paragraphs>
  <Slides>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2" baseType="lpstr">
      <vt:lpstr>Aptos</vt:lpstr>
      <vt:lpstr>Arial</vt:lpstr>
      <vt:lpstr>Calibri</vt:lpstr>
      <vt:lpstr>Calibri Light</vt:lpstr>
      <vt:lpstr>Cambria</vt:lpstr>
      <vt:lpstr>Tw Cen MT Condensed</vt:lpstr>
      <vt:lpstr>2_Office Theme</vt:lpstr>
      <vt:lpstr>think-cell Slide</vt:lpstr>
      <vt:lpstr>Process Map Template</vt:lpstr>
      <vt:lpstr>Process Map Shape Repository </vt:lpstr>
      <vt:lpstr>Instructions</vt:lpstr>
      <vt:lpstr>Process Map Exampl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moore Strategic Takeaways</dc:title>
  <dc:creator>Jared Winoker</dc:creator>
  <cp:lastModifiedBy>Kleriotis, Christopher D CIV USN CNO (USA)</cp:lastModifiedBy>
  <cp:revision>4</cp:revision>
  <cp:lastPrinted>2026-01-28T22:32:17Z</cp:lastPrinted>
  <dcterms:created xsi:type="dcterms:W3CDTF">2021-09-07T19:34:58Z</dcterms:created>
  <dcterms:modified xsi:type="dcterms:W3CDTF">2026-02-24T16:13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CE74FF56111874F8528354EA601358C</vt:lpwstr>
  </property>
  <property fmtid="{D5CDD505-2E9C-101B-9397-08002B2CF9AE}" pid="3" name="MediaServiceImageTags">
    <vt:lpwstr/>
  </property>
</Properties>
</file>